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18"/>
  </p:notesMasterIdLst>
  <p:sldIdLst>
    <p:sldId id="261" r:id="rId3"/>
    <p:sldId id="270" r:id="rId4"/>
    <p:sldId id="282" r:id="rId5"/>
    <p:sldId id="286" r:id="rId6"/>
    <p:sldId id="285" r:id="rId7"/>
    <p:sldId id="273" r:id="rId8"/>
    <p:sldId id="262" r:id="rId9"/>
    <p:sldId id="287" r:id="rId10"/>
    <p:sldId id="288" r:id="rId11"/>
    <p:sldId id="265" r:id="rId12"/>
    <p:sldId id="266" r:id="rId13"/>
    <p:sldId id="267" r:id="rId14"/>
    <p:sldId id="275" r:id="rId15"/>
    <p:sldId id="279" r:id="rId16"/>
    <p:sldId id="278" r:id="rId17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96404" autoAdjust="0"/>
  </p:normalViewPr>
  <p:slideViewPr>
    <p:cSldViewPr snapToGrid="0">
      <p:cViewPr varScale="1">
        <p:scale>
          <a:sx n="107" d="100"/>
          <a:sy n="107" d="100"/>
        </p:scale>
        <p:origin x="65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D080B-BA9D-403C-9BA6-CB4A694F06FA}" type="datetimeFigureOut">
              <a:rPr lang="ru-RU" smtClean="0"/>
              <a:t>10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331BD-3BEE-4067-9D16-AE89B49EEE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34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8432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923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2657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815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341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31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617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03345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88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952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53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5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456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0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7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51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243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70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3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7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20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862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627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82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3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0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61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23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42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61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780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8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қ.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 </a:t>
            </a:r>
            <a:r>
              <a:rPr lang="ru-RU" sz="1800" i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н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00838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883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АҚ БОЙЫНША ЖТС ПРОГРЕССИВТІ ШӘКІЛІН ЕНГІЗУ 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1/2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73" y="652209"/>
            <a:ext cx="11412745" cy="592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790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АҚ БОЙЫНША ЖТС ПРОГРЕССИВТІ ШӘКІЛІН ЕНГІЗУ (1/3)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693" y="671563"/>
            <a:ext cx="11119449" cy="5936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4481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АҚ БОЙЫНША ЖТС ПРОГРЕССИВТІ ШӘКІЛІН ЕНГІЗУ (1/4)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824" y="723563"/>
            <a:ext cx="11208017" cy="583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799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АҚ БОЙЫНША ЖТС ПРОГРЕССИВТІ ШӘКІЛІН ЕНГІЗУ (1/5)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235207"/>
              </p:ext>
            </p:extLst>
          </p:nvPr>
        </p:nvGraphicFramePr>
        <p:xfrm>
          <a:off x="251305" y="482114"/>
          <a:ext cx="11678505" cy="1896382"/>
        </p:xfrm>
        <a:graphic>
          <a:graphicData uri="http://schemas.openxmlformats.org/drawingml/2006/table">
            <a:tbl>
              <a:tblPr/>
              <a:tblGrid>
                <a:gridCol w="852854">
                  <a:extLst>
                    <a:ext uri="{9D8B030D-6E8A-4147-A177-3AD203B41FA5}">
                      <a16:colId xmlns:a16="http://schemas.microsoft.com/office/drawing/2014/main" val="4179891286"/>
                    </a:ext>
                  </a:extLst>
                </a:gridCol>
                <a:gridCol w="1072661">
                  <a:extLst>
                    <a:ext uri="{9D8B030D-6E8A-4147-A177-3AD203B41FA5}">
                      <a16:colId xmlns:a16="http://schemas.microsoft.com/office/drawing/2014/main" val="1153420028"/>
                    </a:ext>
                  </a:extLst>
                </a:gridCol>
                <a:gridCol w="1169377">
                  <a:extLst>
                    <a:ext uri="{9D8B030D-6E8A-4147-A177-3AD203B41FA5}">
                      <a16:colId xmlns:a16="http://schemas.microsoft.com/office/drawing/2014/main" val="3362917234"/>
                    </a:ext>
                  </a:extLst>
                </a:gridCol>
                <a:gridCol w="1274885">
                  <a:extLst>
                    <a:ext uri="{9D8B030D-6E8A-4147-A177-3AD203B41FA5}">
                      <a16:colId xmlns:a16="http://schemas.microsoft.com/office/drawing/2014/main" val="624037912"/>
                    </a:ext>
                  </a:extLst>
                </a:gridCol>
                <a:gridCol w="1310053">
                  <a:extLst>
                    <a:ext uri="{9D8B030D-6E8A-4147-A177-3AD203B41FA5}">
                      <a16:colId xmlns:a16="http://schemas.microsoft.com/office/drawing/2014/main" val="3049956758"/>
                    </a:ext>
                  </a:extLst>
                </a:gridCol>
                <a:gridCol w="1186962">
                  <a:extLst>
                    <a:ext uri="{9D8B030D-6E8A-4147-A177-3AD203B41FA5}">
                      <a16:colId xmlns:a16="http://schemas.microsoft.com/office/drawing/2014/main" val="1087876751"/>
                    </a:ext>
                  </a:extLst>
                </a:gridCol>
                <a:gridCol w="1266092">
                  <a:extLst>
                    <a:ext uri="{9D8B030D-6E8A-4147-A177-3AD203B41FA5}">
                      <a16:colId xmlns:a16="http://schemas.microsoft.com/office/drawing/2014/main" val="1546795113"/>
                    </a:ext>
                  </a:extLst>
                </a:gridCol>
                <a:gridCol w="1213339">
                  <a:extLst>
                    <a:ext uri="{9D8B030D-6E8A-4147-A177-3AD203B41FA5}">
                      <a16:colId xmlns:a16="http://schemas.microsoft.com/office/drawing/2014/main" val="1227119803"/>
                    </a:ext>
                  </a:extLst>
                </a:gridCol>
                <a:gridCol w="1259122">
                  <a:extLst>
                    <a:ext uri="{9D8B030D-6E8A-4147-A177-3AD203B41FA5}">
                      <a16:colId xmlns:a16="http://schemas.microsoft.com/office/drawing/2014/main" val="1300571814"/>
                    </a:ext>
                  </a:extLst>
                </a:gridCol>
                <a:gridCol w="1073160">
                  <a:extLst>
                    <a:ext uri="{9D8B030D-6E8A-4147-A177-3AD203B41FA5}">
                      <a16:colId xmlns:a16="http://schemas.microsoft.com/office/drawing/2014/main" val="2073378037"/>
                    </a:ext>
                  </a:extLst>
                </a:gridCol>
              </a:tblGrid>
              <a:tr h="598453"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лн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ңге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53682"/>
                  </a:ext>
                </a:extLst>
              </a:tr>
              <a:tr h="59583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10%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400" b="1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%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уытқу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12%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уытқу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</a:t>
                      </a:r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13% </a:t>
                      </a:r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уытқу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0790816"/>
                  </a:ext>
                </a:extLst>
              </a:tr>
              <a:tr h="6483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ТС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697 9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63 26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545 9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00 5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4 5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55 1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9 18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309 7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3 77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172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11307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8069" y="1083941"/>
            <a:ext cx="1142047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м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уы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ет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л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асыла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уғ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ғ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отек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ыздар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ғ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ді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еологияс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ғ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 АЕК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гедектігі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дагерле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бала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қоршыла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МЗЖ, МӘМС)</a:t>
            </a: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ЖТС БОЙЫНША ҰСЫНЫЛАТЫН ТӘСІЛДЕР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43353" y="3463719"/>
            <a:ext cx="9548447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  <a:defRPr/>
            </a:pPr>
            <a:r>
              <a:rPr kumimoji="1" lang="ru-RU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ТС=(ЕА-МЗЖ – 882 АЕК (</a:t>
            </a:r>
            <a:r>
              <a:rPr kumimoji="1" lang="ru-RU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гедектігі</a:t>
            </a:r>
            <a:r>
              <a:rPr kumimoji="1" lang="ru-RU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kumimoji="1" lang="ru-RU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ар</a:t>
            </a:r>
            <a:r>
              <a:rPr kumimoji="1" lang="ru-RU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30 АЕК(</a:t>
            </a:r>
            <a:r>
              <a:rPr kumimoji="1" lang="ru-RU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</a:t>
            </a:r>
            <a:r>
              <a:rPr kumimoji="1" lang="kk-KZ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</a:t>
            </a:r>
            <a:r>
              <a:rPr kumimoji="1" lang="ru-RU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*10%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63794" y="4259262"/>
            <a:ext cx="114050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4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жолғ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а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61596" y="5226784"/>
            <a:ext cx="113347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мілелерді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іс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н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д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қындау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ді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ларын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0805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ҚОСЫМША ТӘСІЛДЕР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26073" y="1441938"/>
            <a:ext cx="10648950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ю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лері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ктел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бес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улард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ы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ту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ырыб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гендеу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ау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у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ның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н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ін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ге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ғы</a:t>
            </a: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953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3" descr="C:\Users\kazbekov_e\Downloads\dsc-8977-24_mediumThumb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536105" y="517831"/>
            <a:ext cx="3067410" cy="196841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69329" y="3561193"/>
            <a:ext cx="6826614" cy="2062103"/>
          </a:xfrm>
          <a:prstGeom prst="rect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indent="265113" algn="just"/>
            <a:r>
              <a:rPr lang="ru-RU" sz="1600" dirty="0">
                <a:latin typeface="Arial" pitchFamily="34" charset="0"/>
                <a:cs typeface="Arial" pitchFamily="34" charset="0"/>
              </a:rPr>
              <a:t>2007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жылда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бастап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прогрессивті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шәкіліне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ЖТС 10% «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бірдей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»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лемелеріне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көшу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жүргізілді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 indent="265113" algn="just"/>
            <a:r>
              <a:rPr lang="ru-RU" sz="1600" b="1" dirty="0">
                <a:latin typeface="Arial" pitchFamily="34" charset="0"/>
                <a:cs typeface="Arial" pitchFamily="34" charset="0"/>
              </a:rPr>
              <a:t>2019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ылда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бастап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Мемлекет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басшысының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тапсырмасы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іске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жалақысы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төме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қызметкерлердің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табыстарына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салу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айлық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табысы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25 АЕК-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тен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2024 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жылы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92 300 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теңгеден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dirty="0" err="1">
                <a:latin typeface="Arial" pitchFamily="34" charset="0"/>
                <a:cs typeface="Arial" pitchFamily="34" charset="0"/>
              </a:rPr>
              <a:t>аспайты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)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салынатын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кірісті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90%-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ға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азайту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қолданылады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бұл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іс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жүзінде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осындай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қызметкерлердің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табыстарына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1%-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дық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мөлшерлемені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қолдануды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білдіреді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. </a:t>
            </a:r>
            <a:endParaRPr lang="ru-RU" sz="16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36416" y="3561194"/>
            <a:ext cx="4066289" cy="2062103"/>
          </a:xfrm>
          <a:prstGeom prst="rect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indent="265113" algn="just"/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07 </a:t>
            </a:r>
            <a:r>
              <a:rPr lang="ru-RU" sz="16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ға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өлшерлемелері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%-дан 20% - </a:t>
            </a:r>
            <a:r>
              <a:rPr lang="ru-RU" sz="16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а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ейін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ЖТС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удың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4%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тылы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грессивті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әкілі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лды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ru-RU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кті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ндерден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сқан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езде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5%, 10%, 15% </a:t>
            </a:r>
            <a:r>
              <a:rPr lang="ru-RU" sz="16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% ). </a:t>
            </a:r>
          </a:p>
          <a:p>
            <a:pPr indent="265113" algn="just"/>
            <a:r>
              <a:rPr lang="kk-KZ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видендтер мен сыйақылар бойынша «бірдей» мөлшерлеме 15% болды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11607259" y="6356846"/>
            <a:ext cx="412929" cy="365125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2</a:t>
            </a:r>
            <a:endParaRPr lang="ru-RU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83622" y="1689662"/>
            <a:ext cx="801232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Жеке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ың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іне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лау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жеттігі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ап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» («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летті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п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ғамдық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тимизм» 2024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ркүйектегі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қына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уына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6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FF8706-B89E-4D46-AD8E-12986D4ED8FF}"/>
              </a:ext>
            </a:extLst>
          </p:cNvPr>
          <p:cNvSpPr txBox="1"/>
          <p:nvPr/>
        </p:nvSpPr>
        <p:spPr>
          <a:xfrm>
            <a:off x="3783622" y="438913"/>
            <a:ext cx="801232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…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леттілік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ақы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ң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е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ессивті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әкілі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сі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ысықтайты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ді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» (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тенше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ссияның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тынды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сында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0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мырда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өйлеге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өзінен</a:t>
            </a: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b="1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01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АҒЫМДАҒЫ ЖАҒДА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591302"/>
              </p:ext>
            </p:extLst>
          </p:nvPr>
        </p:nvGraphicFramePr>
        <p:xfrm>
          <a:off x="389791" y="1043062"/>
          <a:ext cx="11224848" cy="5094326"/>
        </p:xfrm>
        <a:graphic>
          <a:graphicData uri="http://schemas.openxmlformats.org/drawingml/2006/table">
            <a:tbl>
              <a:tblPr/>
              <a:tblGrid>
                <a:gridCol w="1911725">
                  <a:extLst>
                    <a:ext uri="{9D8B030D-6E8A-4147-A177-3AD203B41FA5}">
                      <a16:colId xmlns:a16="http://schemas.microsoft.com/office/drawing/2014/main" val="2748315686"/>
                    </a:ext>
                  </a:extLst>
                </a:gridCol>
                <a:gridCol w="712979">
                  <a:extLst>
                    <a:ext uri="{9D8B030D-6E8A-4147-A177-3AD203B41FA5}">
                      <a16:colId xmlns:a16="http://schemas.microsoft.com/office/drawing/2014/main" val="3682227134"/>
                    </a:ext>
                  </a:extLst>
                </a:gridCol>
                <a:gridCol w="679028">
                  <a:extLst>
                    <a:ext uri="{9D8B030D-6E8A-4147-A177-3AD203B41FA5}">
                      <a16:colId xmlns:a16="http://schemas.microsoft.com/office/drawing/2014/main" val="733929164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1411739757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660591080"/>
                    </a:ext>
                  </a:extLst>
                </a:gridCol>
                <a:gridCol w="668581">
                  <a:extLst>
                    <a:ext uri="{9D8B030D-6E8A-4147-A177-3AD203B41FA5}">
                      <a16:colId xmlns:a16="http://schemas.microsoft.com/office/drawing/2014/main" val="3554640693"/>
                    </a:ext>
                  </a:extLst>
                </a:gridCol>
                <a:gridCol w="679028">
                  <a:extLst>
                    <a:ext uri="{9D8B030D-6E8A-4147-A177-3AD203B41FA5}">
                      <a16:colId xmlns:a16="http://schemas.microsoft.com/office/drawing/2014/main" val="1941852927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3699390703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3063000877"/>
                    </a:ext>
                  </a:extLst>
                </a:gridCol>
                <a:gridCol w="689474">
                  <a:extLst>
                    <a:ext uri="{9D8B030D-6E8A-4147-A177-3AD203B41FA5}">
                      <a16:colId xmlns:a16="http://schemas.microsoft.com/office/drawing/2014/main" val="1591785783"/>
                    </a:ext>
                  </a:extLst>
                </a:gridCol>
                <a:gridCol w="783493">
                  <a:extLst>
                    <a:ext uri="{9D8B030D-6E8A-4147-A177-3AD203B41FA5}">
                      <a16:colId xmlns:a16="http://schemas.microsoft.com/office/drawing/2014/main" val="4237782571"/>
                    </a:ext>
                  </a:extLst>
                </a:gridCol>
                <a:gridCol w="783493">
                  <a:extLst>
                    <a:ext uri="{9D8B030D-6E8A-4147-A177-3AD203B41FA5}">
                      <a16:colId xmlns:a16="http://schemas.microsoft.com/office/drawing/2014/main" val="3468858590"/>
                    </a:ext>
                  </a:extLst>
                </a:gridCol>
                <a:gridCol w="783493">
                  <a:extLst>
                    <a:ext uri="{9D8B030D-6E8A-4147-A177-3AD203B41FA5}">
                      <a16:colId xmlns:a16="http://schemas.microsoft.com/office/drawing/2014/main" val="1064961761"/>
                    </a:ext>
                  </a:extLst>
                </a:gridCol>
                <a:gridCol w="806998">
                  <a:extLst>
                    <a:ext uri="{9D8B030D-6E8A-4147-A177-3AD203B41FA5}">
                      <a16:colId xmlns:a16="http://schemas.microsoft.com/office/drawing/2014/main" val="45389718"/>
                    </a:ext>
                  </a:extLst>
                </a:gridCol>
              </a:tblGrid>
              <a:tr h="189284">
                <a:tc gridSpan="14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ға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м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зіне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натын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ЖТС</a:t>
                      </a:r>
                    </a:p>
                    <a:p>
                      <a:pPr algn="ctr" fontAlgn="b"/>
                      <a:endParaRPr lang="ru-RU" sz="11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ru-RU" sz="11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4289848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лыс</a:t>
                      </a:r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тауы</a:t>
                      </a:r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ңтар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п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урыз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әуір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ыр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усым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ілд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ыз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ркүйек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аш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тоқс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қ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1258233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мол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7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0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6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7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6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6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1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9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81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4604534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төб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9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5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7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68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9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8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69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86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6813052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8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7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52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8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5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0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31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 3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014302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ырау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9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86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48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80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30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34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2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0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3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21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01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06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8 7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9304943"/>
                  </a:ext>
                </a:extLst>
              </a:tr>
              <a:tr h="3698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ығыс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6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2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6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2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4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4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80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 0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29802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мбыл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1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4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5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5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4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9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8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45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2616438"/>
                  </a:ext>
                </a:extLst>
              </a:tr>
              <a:tr h="3698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тыс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9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2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7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5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4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7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4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6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8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 4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564748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ағанды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1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5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0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37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8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7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41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4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6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74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3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940801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ылорд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1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4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9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7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6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8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09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29241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танай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1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1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2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4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8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6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77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 06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1126014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ңғыстау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37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8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9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0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50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20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9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6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14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5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 55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179355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влодар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9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2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6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2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3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9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58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17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788191"/>
                  </a:ext>
                </a:extLst>
              </a:tr>
              <a:tr h="3698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лтүстік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зақст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6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5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5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9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6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7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221241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кістан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4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6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3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22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1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4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6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 18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620272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ымкент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2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9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1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8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1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75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7444644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04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91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6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 8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0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4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77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 0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50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89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 2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 0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1 39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415041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тана </a:t>
                      </a:r>
                      <a:r>
                        <a:rPr lang="kk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07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29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6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64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58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 63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7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6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5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44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9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8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3 14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906078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ай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3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4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4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1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7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0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6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2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3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4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430031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ісу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1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4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5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1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3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5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44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5961976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ытау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3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4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7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3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0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7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2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85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088790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 39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 1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 0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 4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 82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 3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4 22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7 3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8 0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0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 12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1 9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97 92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6794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5279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478851"/>
              </p:ext>
            </p:extLst>
          </p:nvPr>
        </p:nvGraphicFramePr>
        <p:xfrm>
          <a:off x="67345" y="1293166"/>
          <a:ext cx="4941862" cy="5361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5374">
                  <a:extLst>
                    <a:ext uri="{9D8B030D-6E8A-4147-A177-3AD203B41FA5}">
                      <a16:colId xmlns:a16="http://schemas.microsoft.com/office/drawing/2014/main" val="2108288477"/>
                    </a:ext>
                  </a:extLst>
                </a:gridCol>
                <a:gridCol w="4146488">
                  <a:extLst>
                    <a:ext uri="{9D8B030D-6E8A-4147-A177-3AD203B41FA5}">
                      <a16:colId xmlns:a16="http://schemas.microsoft.com/office/drawing/2014/main" val="4292483445"/>
                    </a:ext>
                  </a:extLst>
                </a:gridCol>
              </a:tblGrid>
              <a:tr h="8564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marR="0" lvl="4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жалпы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елгіленген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мөлшерлеме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оның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ішінде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дивидендте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ойынша</a:t>
                      </a:r>
                      <a:endParaRPr lang="ru-RU" sz="1600" b="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864137"/>
                  </a:ext>
                </a:extLst>
              </a:tr>
              <a:tr h="7893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9%</a:t>
                      </a:r>
                      <a:endParaRPr lang="en-US" sz="1800" b="1" kern="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ке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каме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йналысаты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амның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рісі</a:t>
                      </a:r>
                      <a:endParaRPr lang="ru-RU" sz="16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606"/>
                  </a:ext>
                </a:extLst>
              </a:tr>
              <a:tr h="24510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дірісінің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імі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діруді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ткізуді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зеге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ыраты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ушілер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ңдеу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еркәсібі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нің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472756"/>
                  </a:ext>
                </a:extLst>
              </a:tr>
              <a:tr h="11885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месе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ермер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жалықтарының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рістері</a:t>
                      </a:r>
                      <a:endParaRPr lang="ru-RU" sz="16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3576879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САЛЫҚ МӨЛШЕРЛЕМЕСІ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912163"/>
              </p:ext>
            </p:extLst>
          </p:nvPr>
        </p:nvGraphicFramePr>
        <p:xfrm>
          <a:off x="5272107" y="1293166"/>
          <a:ext cx="6740506" cy="53473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0379">
                  <a:extLst>
                    <a:ext uri="{9D8B030D-6E8A-4147-A177-3AD203B41FA5}">
                      <a16:colId xmlns:a16="http://schemas.microsoft.com/office/drawing/2014/main" val="2108288477"/>
                    </a:ext>
                  </a:extLst>
                </a:gridCol>
                <a:gridCol w="5970127">
                  <a:extLst>
                    <a:ext uri="{9D8B030D-6E8A-4147-A177-3AD203B41FA5}">
                      <a16:colId xmlns:a16="http://schemas.microsoft.com/office/drawing/2014/main" val="4292483445"/>
                    </a:ext>
                  </a:extLst>
                </a:gridCol>
              </a:tblGrid>
              <a:tr h="4500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 defTabSz="914400" rtl="0" eaLnBrk="1" latinLnBrk="0" hangingPunct="1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йрезиденттердің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ҚР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өздерінен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рістері</a:t>
                      </a:r>
                      <a:endParaRPr lang="ru-RU" sz="1600" b="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568144"/>
                  </a:ext>
                </a:extLst>
              </a:tr>
              <a:tr h="9602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1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 defTabSz="914400" rtl="0" eaLnBrk="1" latinLnBrk="0" hangingPunct="1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ыйлықақылары</a:t>
                      </a:r>
                      <a:endParaRPr lang="ru-RU" sz="1600" b="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625475" lvl="4" indent="-342900" algn="just" defTabSz="914400" rtl="0" eaLnBrk="1" latinLnBrk="0" hangingPunct="1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нның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суі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ивидендте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ыйақыла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роялт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703084"/>
                  </a:ext>
                </a:extLst>
              </a:tr>
              <a:tr h="191012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marR="0" lvl="4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кредитте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ойынша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сыйақылар</a:t>
                      </a:r>
                      <a:r>
                        <a:rPr lang="ru-RU" sz="1600" b="0" ker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ББҚ</a:t>
                      </a:r>
                      <a:endParaRPr lang="ru-RU" sz="1600" b="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/>
                      </a:endParaRPr>
                    </a:p>
                    <a:p>
                      <a:pPr marL="625475" marR="0" lvl="4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еңбек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шарты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ойынша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кірісте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жұмыс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ерушіден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алынған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материалдық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пайда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асшының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алымдары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және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асқару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органының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мүшелеріне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төлемде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үстемеақылар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зейнетақы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аннуитеті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шарты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бойынша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сақтандыру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төлемі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,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зейнетақы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 </a:t>
                      </a:r>
                      <a:r>
                        <a:rPr lang="ru-RU" sz="1600" b="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төлемдері</a:t>
                      </a:r>
                      <a:endParaRPr lang="ru-RU" sz="1600" b="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864137"/>
                  </a:ext>
                </a:extLst>
              </a:tr>
              <a:tr h="182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йт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ттары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ндыру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ыйлықақылары</a:t>
                      </a:r>
                      <a:endParaRPr lang="ru-RU" sz="16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лықаралық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сымалдау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іне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сеті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рістер</a:t>
                      </a:r>
                      <a:endParaRPr lang="ru-RU" sz="16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видендтер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йті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зидент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ңды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лғ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ының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мінде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5%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ікелей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месе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нам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еленеті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лғаға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нетін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видендтер</a:t>
                      </a:r>
                      <a:endParaRPr lang="ru-RU" sz="16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472756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481714" y="830246"/>
            <a:ext cx="46260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і</a:t>
            </a: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960212" y="814857"/>
            <a:ext cx="56138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і</a:t>
            </a:r>
            <a:endParaRPr lang="en-U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703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0883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 ТӘЖІРИБ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371795"/>
              </p:ext>
            </p:extLst>
          </p:nvPr>
        </p:nvGraphicFramePr>
        <p:xfrm>
          <a:off x="712175" y="1275709"/>
          <a:ext cx="10894806" cy="45794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474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47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1413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4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ірдей</a:t>
                      </a:r>
                      <a:r>
                        <a:rPr lang="ru-RU" sz="14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</a:t>
                      </a:r>
                      <a:r>
                        <a:rPr lang="ru-RU" sz="14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әкілі</a:t>
                      </a:r>
                      <a:r>
                        <a:rPr lang="ru-RU" sz="14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дер</a:t>
                      </a:r>
                      <a:endParaRPr lang="ru-RU" sz="14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ессивті</a:t>
                      </a:r>
                      <a:r>
                        <a:rPr lang="ru-RU" sz="14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әкілі</a:t>
                      </a:r>
                      <a:r>
                        <a:rPr lang="ru-RU" sz="14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ар </a:t>
                      </a:r>
                      <a:r>
                        <a:rPr lang="ru-RU" sz="14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дер</a:t>
                      </a:r>
                      <a:endParaRPr lang="ru-RU" sz="14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46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бекстан</a:t>
                      </a: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12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ранция – от 5% до 49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76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ения – 20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ыбритания</a:t>
                      </a: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от 0% до 45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46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зия</a:t>
                      </a:r>
                      <a:r>
                        <a:rPr lang="ru-RU" sz="1400" b="0" baseline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стралия – от 0% до 45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46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стония</a:t>
                      </a:r>
                      <a:r>
                        <a:rPr lang="ru-RU" sz="1400" b="0" baseline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– 20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рмания – от 0% до 45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46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мыния – 10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ХР – от 3% до 45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46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ікменстан</a:t>
                      </a: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10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Ш – от 10% до 37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6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рғызстан</a:t>
                      </a: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10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нада – от 15% до 33%</a:t>
                      </a:r>
                      <a:endParaRPr lang="ru-RU" sz="14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prstClr val="black">
                    <a:tint val="75000"/>
                  </a:prstClr>
                </a:solidFill>
                <a:latin typeface="Calibri"/>
              </a:rPr>
              <a:t>5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8673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883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ЕҢБЕКАҚЫ ТӨЛЕУ ҚОРЫ БОЙЫНША 2023 ЖЫЛҒЫ СЕН ДЕРЕКТЕРІ (ЕТҚ)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724074"/>
              </p:ext>
            </p:extLst>
          </p:nvPr>
        </p:nvGraphicFramePr>
        <p:xfrm>
          <a:off x="183905" y="815859"/>
          <a:ext cx="11569944" cy="5832595"/>
        </p:xfrm>
        <a:graphic>
          <a:graphicData uri="http://schemas.openxmlformats.org/drawingml/2006/table">
            <a:tbl>
              <a:tblPr/>
              <a:tblGrid>
                <a:gridCol w="1000152">
                  <a:extLst>
                    <a:ext uri="{9D8B030D-6E8A-4147-A177-3AD203B41FA5}">
                      <a16:colId xmlns:a16="http://schemas.microsoft.com/office/drawing/2014/main" val="1308168157"/>
                    </a:ext>
                  </a:extLst>
                </a:gridCol>
                <a:gridCol w="1070869">
                  <a:extLst>
                    <a:ext uri="{9D8B030D-6E8A-4147-A177-3AD203B41FA5}">
                      <a16:colId xmlns:a16="http://schemas.microsoft.com/office/drawing/2014/main" val="63035403"/>
                    </a:ext>
                  </a:extLst>
                </a:gridCol>
                <a:gridCol w="646565">
                  <a:extLst>
                    <a:ext uri="{9D8B030D-6E8A-4147-A177-3AD203B41FA5}">
                      <a16:colId xmlns:a16="http://schemas.microsoft.com/office/drawing/2014/main" val="3511800000"/>
                    </a:ext>
                  </a:extLst>
                </a:gridCol>
                <a:gridCol w="686972">
                  <a:extLst>
                    <a:ext uri="{9D8B030D-6E8A-4147-A177-3AD203B41FA5}">
                      <a16:colId xmlns:a16="http://schemas.microsoft.com/office/drawing/2014/main" val="4199116568"/>
                    </a:ext>
                  </a:extLst>
                </a:gridCol>
                <a:gridCol w="1171896">
                  <a:extLst>
                    <a:ext uri="{9D8B030D-6E8A-4147-A177-3AD203B41FA5}">
                      <a16:colId xmlns:a16="http://schemas.microsoft.com/office/drawing/2014/main" val="2612027745"/>
                    </a:ext>
                  </a:extLst>
                </a:gridCol>
                <a:gridCol w="616256">
                  <a:extLst>
                    <a:ext uri="{9D8B030D-6E8A-4147-A177-3AD203B41FA5}">
                      <a16:colId xmlns:a16="http://schemas.microsoft.com/office/drawing/2014/main" val="618261991"/>
                    </a:ext>
                  </a:extLst>
                </a:gridCol>
                <a:gridCol w="707179">
                  <a:extLst>
                    <a:ext uri="{9D8B030D-6E8A-4147-A177-3AD203B41FA5}">
                      <a16:colId xmlns:a16="http://schemas.microsoft.com/office/drawing/2014/main" val="1555617195"/>
                    </a:ext>
                  </a:extLst>
                </a:gridCol>
                <a:gridCol w="1780574">
                  <a:extLst>
                    <a:ext uri="{9D8B030D-6E8A-4147-A177-3AD203B41FA5}">
                      <a16:colId xmlns:a16="http://schemas.microsoft.com/office/drawing/2014/main" val="4133012882"/>
                    </a:ext>
                  </a:extLst>
                </a:gridCol>
                <a:gridCol w="1697227">
                  <a:extLst>
                    <a:ext uri="{9D8B030D-6E8A-4147-A177-3AD203B41FA5}">
                      <a16:colId xmlns:a16="http://schemas.microsoft.com/office/drawing/2014/main" val="1666800358"/>
                    </a:ext>
                  </a:extLst>
                </a:gridCol>
                <a:gridCol w="585949">
                  <a:extLst>
                    <a:ext uri="{9D8B030D-6E8A-4147-A177-3AD203B41FA5}">
                      <a16:colId xmlns:a16="http://schemas.microsoft.com/office/drawing/2014/main" val="628746892"/>
                    </a:ext>
                  </a:extLst>
                </a:gridCol>
                <a:gridCol w="686972">
                  <a:extLst>
                    <a:ext uri="{9D8B030D-6E8A-4147-A177-3AD203B41FA5}">
                      <a16:colId xmlns:a16="http://schemas.microsoft.com/office/drawing/2014/main" val="3385766293"/>
                    </a:ext>
                  </a:extLst>
                </a:gridCol>
                <a:gridCol w="919333">
                  <a:extLst>
                    <a:ext uri="{9D8B030D-6E8A-4147-A177-3AD203B41FA5}">
                      <a16:colId xmlns:a16="http://schemas.microsoft.com/office/drawing/2014/main" val="2554762911"/>
                    </a:ext>
                  </a:extLst>
                </a:gridCol>
              </a:tblGrid>
              <a:tr h="6341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йлық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енттерінің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ғаю бойынша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керлер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ғаю бойынша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елген</a:t>
                      </a:r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рістер</a:t>
                      </a:r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лн </a:t>
                      </a:r>
                      <a:r>
                        <a:rPr lang="ru-RU" sz="11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джетке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нуге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татын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ЖТС,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ғаю  бойынша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пы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үктем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377963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-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 3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16 5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80 186,2 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7 240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479941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2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9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5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09 07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2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97 556,6 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5 260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00191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-1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39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9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2 08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4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,6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975 434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0 885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7294138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-2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 7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,7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9 95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095 438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6 006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1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000017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-2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 38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,1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7 7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3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252 422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9 239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0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99009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-3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 8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4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5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6 96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349 114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6 983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4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399409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-3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 6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6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1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7 2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0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369 436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9 410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282476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0-4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5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,0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7 9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,6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316 915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7 563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07968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-4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8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,2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 82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9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188 591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0 535,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21663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-5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8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8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 75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043 811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2 193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1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943587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-5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3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,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 22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84 211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1 782,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6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733816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-6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03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 25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,9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59 955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3 722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,7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66762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-6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2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6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 33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1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30 538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45 378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324040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0-7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81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0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0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11 343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7 166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7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6949898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0-7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8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,0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 2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422 317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1 253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,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12074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-8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10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,3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 18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2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55 604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6 392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,2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56669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-8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47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,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90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6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03 481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2 759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6999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0-9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12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4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15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0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59 888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9 718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,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18761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0-9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91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2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57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3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18 688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6 687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,6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672764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0-1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4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0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2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02 687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5 501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,8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443282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-12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05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4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 5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87 552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1 474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,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6458083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0-15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8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3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 7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9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66 880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46 101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4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8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3926340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0-2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20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2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 7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3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59 190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3 520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9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,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2629810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0-25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1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7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1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5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46 882,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7 934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9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08020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0-3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3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0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30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6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16 690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7 574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018138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3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91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 86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2 627 155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157 902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7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5072629"/>
                  </a:ext>
                </a:extLst>
              </a:tr>
              <a:tr h="18754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8 62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065 7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321 975,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40 188,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45894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50313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АҚ БОЙЫНША ЖТС ПРОГРЕССИВТІ ШӘКІЛІН ЕНГІЗУ (1/1)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717" y="735528"/>
            <a:ext cx="11302702" cy="5800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ДІ ЖӘНЕ ШЕКТІ КІРІСТЕРДІ АНЫҚТАУ ТӘСІЛДЕРІ (1-нұсқаға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1409CFE0-E1A8-2F66-93E6-40E8349405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023322"/>
              </p:ext>
            </p:extLst>
          </p:nvPr>
        </p:nvGraphicFramePr>
        <p:xfrm>
          <a:off x="462707" y="4202280"/>
          <a:ext cx="11221290" cy="13580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00150">
                  <a:extLst>
                    <a:ext uri="{9D8B030D-6E8A-4147-A177-3AD203B41FA5}">
                      <a16:colId xmlns:a16="http://schemas.microsoft.com/office/drawing/2014/main" val="2182214661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2218529696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2257432511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3024875868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3368000778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77079355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4077287642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113024451"/>
                    </a:ext>
                  </a:extLst>
                </a:gridCol>
              </a:tblGrid>
              <a:tr h="452670">
                <a:tc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325281"/>
                  </a:ext>
                </a:extLst>
              </a:tr>
              <a:tr h="452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дық</a:t>
                      </a:r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нфляци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135527"/>
                  </a:ext>
                </a:extLst>
              </a:tr>
              <a:tr h="452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екстеу</a:t>
                      </a:r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керілген</a:t>
                      </a:r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ома млн. </a:t>
                      </a:r>
                      <a:r>
                        <a:rPr lang="ru-RU" sz="16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73884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86446" y="2692315"/>
            <a:ext cx="1160822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МЛН. ТЕҢГЕ СОМАСЫН АЙҚЫНДАУ</a:t>
            </a:r>
          </a:p>
          <a:p>
            <a:pPr algn="just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рта тап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,5-2 млн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йтылғ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әнд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йырысулар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,7 млн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сом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йқындалды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сом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инфляциян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олжамд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еңгейлерін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индекстелд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dirty="0"/>
              <a:t>ӘЭДБ)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9E4154-FE6C-4304-9696-B2E603790A7B}"/>
              </a:ext>
            </a:extLst>
          </p:cNvPr>
          <p:cNvSpPr txBox="1"/>
          <p:nvPr/>
        </p:nvSpPr>
        <p:spPr>
          <a:xfrm>
            <a:off x="232531" y="805898"/>
            <a:ext cx="1127234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 БАСШЫСЫНЫҢ 2020 ЖЫЛЫ АЙТҚАН ТӘСІЛДЕРІ</a:t>
            </a:r>
          </a:p>
          <a:p>
            <a:pPr marL="285750" indent="-285750" algn="just">
              <a:buFont typeface="Wingdings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50-300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 -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7%</a:t>
            </a:r>
          </a:p>
          <a:p>
            <a:pPr algn="just"/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рта класс (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шарт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300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ыңн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1,5-2 млн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 - 10%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25 млн.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сад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–15% </a:t>
            </a:r>
          </a:p>
        </p:txBody>
      </p:sp>
    </p:spTree>
    <p:extLst>
      <p:ext uri="{BB962C8B-B14F-4D97-AF65-F5344CB8AC3E}">
        <p14:creationId xmlns:p14="http://schemas.microsoft.com/office/powerpoint/2010/main" val="3751342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70365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 МЕН ШЕКТІ КІРІСТЕРДІ АНЫҚТАУДЫҢ ҒЫЛЫМИ ТӘСІЛДЕРІ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92B5B-DAC7-657E-631B-CEDAC54F1DB3}"/>
              </a:ext>
            </a:extLst>
          </p:cNvPr>
          <p:cNvSpPr txBox="1"/>
          <p:nvPr/>
        </p:nvSpPr>
        <p:spPr>
          <a:xfrm>
            <a:off x="233704" y="898392"/>
            <a:ext cx="1142921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И ТӘСІЛДЕРІ</a:t>
            </a:r>
          </a:p>
          <a:p>
            <a:pPr algn="just"/>
            <a:endParaRPr lang="ru-RU" sz="16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Прогрессивт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лер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әдістем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абысы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өлуг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процентильд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ецильд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үй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ысал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аз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амтылғ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оптарын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30%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уқат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40%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уқат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30%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АҚШ, Норвегия, Герман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т. б.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с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әртүрл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лер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Әр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үрл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лер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інез-құлқын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бюджет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ірістерін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ЖІӨ-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ұмыспе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амтуғ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т. б.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әсер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одельдерд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ЭЫДҰ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амығ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лдерді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с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«Орта тап» деп аталатын анықтамасы. Мысалы, ЭЫДҰ әдіснамасы бойынша «орта тап» - орташа табыстың </a:t>
            </a:r>
            <a:b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75-200% табысы бар тұлғалар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неғұрлы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уқат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оптарын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алуд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лау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ысал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2025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ей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Федерациясынд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әсіпкерлікті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оғарылау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3,2% -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ған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нгізілді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AA447E3-FB74-E4BC-6CFD-95F066551D6F}"/>
              </a:ext>
            </a:extLst>
          </p:cNvPr>
          <p:cNvSpPr/>
          <p:nvPr/>
        </p:nvSpPr>
        <p:spPr>
          <a:xfrm>
            <a:off x="286446" y="5323345"/>
            <a:ext cx="116082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78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індег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жалақын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йырысу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500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өлшердег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сомалар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йқындалды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404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5</TotalTime>
  <Words>2158</Words>
  <Application>Microsoft Office PowerPoint</Application>
  <PresentationFormat>Широкоэкранный</PresentationFormat>
  <Paragraphs>799</Paragraphs>
  <Slides>1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Arial</vt:lpstr>
      <vt:lpstr>Calibri</vt:lpstr>
      <vt:lpstr>Calibri Light</vt:lpstr>
      <vt:lpstr>Century Gothic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User</cp:lastModifiedBy>
  <cp:revision>98</cp:revision>
  <cp:lastPrinted>2024-10-09T07:05:51Z</cp:lastPrinted>
  <dcterms:created xsi:type="dcterms:W3CDTF">2024-10-07T12:30:20Z</dcterms:created>
  <dcterms:modified xsi:type="dcterms:W3CDTF">2024-10-10T05:07:56Z</dcterms:modified>
</cp:coreProperties>
</file>